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61"/>
  </p:notesMasterIdLst>
  <p:handoutMasterIdLst>
    <p:handoutMasterId r:id="rId62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321" r:id="rId45"/>
    <p:sldId id="280" r:id="rId46"/>
    <p:sldId id="279" r:id="rId47"/>
    <p:sldId id="292" r:id="rId48"/>
    <p:sldId id="291" r:id="rId49"/>
    <p:sldId id="309" r:id="rId50"/>
    <p:sldId id="310" r:id="rId51"/>
    <p:sldId id="308" r:id="rId52"/>
    <p:sldId id="322" r:id="rId53"/>
    <p:sldId id="324" r:id="rId54"/>
    <p:sldId id="319" r:id="rId55"/>
    <p:sldId id="320" r:id="rId56"/>
    <p:sldId id="290" r:id="rId57"/>
    <p:sldId id="281" r:id="rId58"/>
    <p:sldId id="323" r:id="rId59"/>
    <p:sldId id="289" r:id="rId60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 smtClean="0"/>
            <a:t>Não sei o quanto sei</a:t>
          </a:r>
          <a:endParaRPr lang="pt-BR" dirty="0"/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 smtClean="0"/>
            <a:t>Sei que Sei</a:t>
          </a:r>
          <a:endParaRPr lang="pt-BR" dirty="0"/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 smtClean="0"/>
            <a:t>Sei que não sei</a:t>
          </a:r>
          <a:endParaRPr lang="pt-BR" dirty="0"/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 smtClean="0"/>
            <a:t>Não sei que não sei</a:t>
          </a:r>
          <a:endParaRPr lang="pt-BR" dirty="0"/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 smtClean="0"/>
            <a:t>+Competência</a:t>
          </a:r>
          <a:endParaRPr lang="pt-BR" dirty="0"/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 smtClean="0"/>
            <a:t>++Competência</a:t>
          </a:r>
          <a:endParaRPr lang="pt-BR" dirty="0"/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mpetência</a:t>
          </a:r>
          <a:endParaRPr lang="pt-BR" sz="1200" kern="1200" dirty="0"/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+Competência</a:t>
          </a:r>
          <a:endParaRPr lang="pt-BR" sz="1200" kern="1200" dirty="0"/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o quanto sei</a:t>
          </a:r>
          <a:endParaRPr lang="pt-BR" sz="1800" kern="1200" dirty="0"/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Sei</a:t>
          </a:r>
          <a:endParaRPr lang="pt-BR" sz="1800" kern="1200" dirty="0"/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não sei</a:t>
          </a:r>
          <a:endParaRPr lang="pt-BR" sz="1800" kern="1200" dirty="0"/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que não sei</a:t>
          </a:r>
          <a:endParaRPr lang="pt-BR" sz="1800" kern="1200" dirty="0"/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09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09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</a:t>
            </a:r>
            <a:r>
              <a:rPr lang="pt-BR" sz="1800" dirty="0" err="1" smtClean="0">
                <a:latin typeface="Corbel" panose="020B0503020204020204" pitchFamily="34" charset="0"/>
              </a:rPr>
              <a:t>idéia</a:t>
            </a:r>
            <a:r>
              <a:rPr lang="pt-BR" sz="1800" dirty="0" smtClean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</a:t>
            </a:r>
            <a:r>
              <a:rPr lang="pt-BR" sz="1800" dirty="0" smtClean="0">
                <a:latin typeface="Corbel" panose="020B0503020204020204" pitchFamily="34" charset="0"/>
              </a:rPr>
              <a:t>no 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</a:t>
            </a:r>
            <a:r>
              <a:rPr lang="pt-BR" sz="1800" dirty="0" smtClean="0">
                <a:latin typeface="Corbel" panose="020B0503020204020204" pitchFamily="34" charset="0"/>
              </a:rPr>
              <a:t>cedo. O QUE ESTÁ POR VIR (ML)?</a:t>
            </a:r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O que espera do Curs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7:50 as 18:00 – Dúvidas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O </a:t>
            </a:r>
            <a:r>
              <a:rPr lang="pt-BR" sz="1800" dirty="0"/>
              <a:t>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</a:t>
            </a:r>
            <a:r>
              <a:rPr lang="pt-BR" sz="1800" dirty="0" smtClean="0"/>
              <a:t>o valor que queremos.</a:t>
            </a:r>
          </a:p>
          <a:p>
            <a:pPr marL="0" indent="0">
              <a:buNone/>
            </a:pPr>
            <a:r>
              <a:rPr lang="pt-BR" sz="1800" dirty="0" smtClean="0"/>
              <a:t>Caminho: Guia Dados&gt; Grupo Previsão &gt; Menu teste de </a:t>
            </a:r>
            <a:r>
              <a:rPr lang="pt-BR" sz="1800" dirty="0" err="1" smtClean="0"/>
              <a:t>Hipotese</a:t>
            </a:r>
            <a:r>
              <a:rPr lang="pt-BR" sz="1800" dirty="0" smtClean="0"/>
              <a:t> &gt; Comando Atingir Meta</a:t>
            </a:r>
          </a:p>
          <a:p>
            <a:pPr marL="0" indent="0">
              <a:buNone/>
            </a:pPr>
            <a:r>
              <a:rPr lang="pt-BR" sz="1800" dirty="0" smtClean="0"/>
              <a:t>No Exemplo quero saber qual o Volume de quantidades necessárias (Célula Verde) para que o lucro(célula laranja)  seja igual à “zero”.</a:t>
            </a:r>
            <a:endParaRPr lang="pt-BR" sz="1800" dirty="0"/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Solução Atendida</a:t>
            </a:r>
            <a:endParaRPr lang="pt-BR" sz="1000" dirty="0"/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Numero encontrado pelo comando atingir meta</a:t>
            </a:r>
            <a:endParaRPr lang="pt-BR" sz="1000" dirty="0"/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ndereço da </a:t>
            </a:r>
            <a:r>
              <a:rPr lang="pt-BR" sz="1000" dirty="0" err="1" smtClean="0"/>
              <a:t>Celula</a:t>
            </a:r>
            <a:r>
              <a:rPr lang="pt-BR" sz="1000" dirty="0" smtClean="0"/>
              <a:t> onde esta o Numero que será Alterado</a:t>
            </a:r>
            <a:endParaRPr lang="pt-BR" sz="1000" dirty="0"/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ndereço da célula onde esta o valor que queremos como ALVO</a:t>
            </a:r>
            <a:endParaRPr lang="pt-BR" sz="1000" dirty="0"/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O Valor que queremos como ALVO</a:t>
            </a:r>
            <a:endParaRPr lang="pt-BR" sz="1000" dirty="0"/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 smtClean="0"/>
              <a:t>Area</a:t>
            </a:r>
            <a:r>
              <a:rPr lang="pt-BR" sz="2000" dirty="0" smtClean="0"/>
              <a:t> de Trabalho, Tipo de arquivos, salvar, abrir</a:t>
            </a:r>
          </a:p>
          <a:p>
            <a:r>
              <a:rPr lang="pt-BR" sz="2000" dirty="0" smtClean="0"/>
              <a:t>Inserir dados, inserir linha e coluna</a:t>
            </a:r>
          </a:p>
          <a:p>
            <a:r>
              <a:rPr lang="pt-BR" sz="2000" dirty="0" err="1" smtClean="0"/>
              <a:t>Exluir</a:t>
            </a:r>
            <a:r>
              <a:rPr lang="pt-BR" sz="2000" dirty="0" smtClean="0"/>
              <a:t> dados, linhas e colunas</a:t>
            </a:r>
          </a:p>
          <a:p>
            <a:r>
              <a:rPr lang="pt-BR" sz="2000" dirty="0" smtClean="0"/>
              <a:t>Formulas  aritméticas e </a:t>
            </a:r>
            <a:r>
              <a:rPr lang="pt-BR" sz="2000" dirty="0" err="1" smtClean="0"/>
              <a:t>formulos</a:t>
            </a:r>
            <a:r>
              <a:rPr lang="pt-BR" sz="2000" dirty="0" smtClean="0"/>
              <a:t> sem argumentos (hoje, agora)</a:t>
            </a:r>
          </a:p>
          <a:p>
            <a:r>
              <a:rPr lang="pt-BR" sz="2000" dirty="0" err="1" smtClean="0"/>
              <a:t>Subtituir</a:t>
            </a:r>
            <a:r>
              <a:rPr lang="pt-BR" sz="2000" dirty="0" smtClean="0"/>
              <a:t> Formula, </a:t>
            </a:r>
            <a:r>
              <a:rPr lang="pt-BR" sz="2000" dirty="0" err="1" smtClean="0"/>
              <a:t>caracter</a:t>
            </a:r>
            <a:r>
              <a:rPr lang="pt-BR" sz="2000" dirty="0" smtClean="0"/>
              <a:t> curinga “?” e “ * “</a:t>
            </a:r>
          </a:p>
          <a:p>
            <a:r>
              <a:rPr lang="pt-BR" sz="2000" dirty="0" smtClean="0"/>
              <a:t>Referencia Absoluta e relativa</a:t>
            </a:r>
          </a:p>
          <a:p>
            <a:r>
              <a:rPr lang="pt-BR" sz="2000" dirty="0" smtClean="0"/>
              <a:t>Formatação: pincel, personalizada</a:t>
            </a:r>
          </a:p>
          <a:p>
            <a:r>
              <a:rPr lang="pt-BR" sz="2000" dirty="0" smtClean="0"/>
              <a:t>Lista e </a:t>
            </a:r>
            <a:r>
              <a:rPr lang="pt-BR" sz="2000" dirty="0" err="1" smtClean="0"/>
              <a:t>auto-preenchimento</a:t>
            </a:r>
            <a:endParaRPr lang="pt-BR" sz="2000" dirty="0" smtClean="0"/>
          </a:p>
          <a:p>
            <a:r>
              <a:rPr lang="pt-BR" sz="2000" dirty="0" smtClean="0"/>
              <a:t>Tipos de Erro em formulas</a:t>
            </a:r>
          </a:p>
          <a:p>
            <a:r>
              <a:rPr lang="pt-BR" sz="2000" dirty="0" smtClean="0"/>
              <a:t>Referencia Circulas</a:t>
            </a:r>
          </a:p>
          <a:p>
            <a:r>
              <a:rPr lang="pt-BR" sz="2000" dirty="0" smtClean="0"/>
              <a:t>Atingir Meta</a:t>
            </a:r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 smtClean="0"/>
              <a:t>Caminho: Guia dados&gt; grupo Estrutura de </a:t>
            </a:r>
            <a:r>
              <a:rPr lang="pt-BR" sz="2000" dirty="0" err="1" smtClean="0"/>
              <a:t>Topicos</a:t>
            </a:r>
            <a:r>
              <a:rPr lang="pt-BR" sz="2000" dirty="0" smtClean="0"/>
              <a:t>&gt; Menu Agrupar&gt;Comando Agrupar.</a:t>
            </a:r>
          </a:p>
          <a:p>
            <a:r>
              <a:rPr lang="pt-BR" sz="2000" dirty="0" smtClean="0"/>
              <a:t>Para limpar vá no menu </a:t>
            </a:r>
            <a:r>
              <a:rPr lang="pt-BR" sz="2000" dirty="0" err="1" smtClean="0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37</a:t>
            </a: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 smtClean="0"/>
              <a:t>Qual o valor total de estoque que será dada a entrada no sistema (valor da célula E14 e F14)?</a:t>
            </a:r>
          </a:p>
          <a:p>
            <a:r>
              <a:rPr lang="pt-BR" sz="1800" dirty="0" smtClean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 smtClean="0"/>
          </a:p>
          <a:p>
            <a:endParaRPr lang="pt-BR" sz="1800" dirty="0"/>
          </a:p>
          <a:p>
            <a:endParaRPr lang="pt-BR" sz="1800" dirty="0" smtClean="0"/>
          </a:p>
          <a:p>
            <a:endParaRPr lang="pt-BR" sz="1800" dirty="0" smtClean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</a:t>
            </a:r>
            <a:r>
              <a:rPr lang="pt-BR" sz="1400" dirty="0" smtClean="0"/>
              <a:t>Descrito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</a:t>
            </a:r>
            <a:r>
              <a:rPr lang="pt-BR" sz="1400" dirty="0" smtClean="0"/>
              <a:t>inteira: </a:t>
            </a:r>
            <a:r>
              <a:rPr lang="pt-BR" sz="1400" dirty="0" err="1" smtClean="0"/>
              <a:t>Corbel</a:t>
            </a:r>
            <a:r>
              <a:rPr lang="pt-BR" sz="1400" dirty="0"/>
              <a:t>,  10, </a:t>
            </a:r>
            <a:r>
              <a:rPr lang="pt-BR" sz="1400" dirty="0" smtClean="0"/>
              <a:t>Preto, Alinhado à Direita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</a:t>
            </a:r>
            <a:r>
              <a:rPr lang="pt-BR" sz="1400" dirty="0" smtClean="0"/>
              <a:t>espesso das células em Branco.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Linhas Horizontais pontilhadas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</a:t>
            </a:r>
            <a:r>
              <a:rPr lang="pt-BR" sz="1400" dirty="0" smtClean="0"/>
              <a:t>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Formatação </a:t>
            </a:r>
            <a:r>
              <a:rPr lang="pt-BR" sz="1400" dirty="0" err="1" smtClean="0"/>
              <a:t>Dolar</a:t>
            </a:r>
            <a:r>
              <a:rPr lang="pt-BR" sz="1400" dirty="0" smtClean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smtClean="0"/>
              <a:t>Reais personalizado</a:t>
            </a:r>
            <a:r>
              <a:rPr lang="pt-BR" sz="1400" dirty="0"/>
              <a:t>: </a:t>
            </a:r>
            <a:r>
              <a:rPr lang="pt-BR" sz="1400" dirty="0" smtClean="0"/>
              <a:t>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Coloque um agrupamento na linha 4:5</a:t>
            </a:r>
            <a:endParaRPr lang="pt-BR" sz="1400" dirty="0"/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0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 smtClean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</a:t>
            </a:r>
            <a:r>
              <a:rPr lang="pt-BR" sz="2000" dirty="0" smtClean="0"/>
              <a:t>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</a:t>
            </a:r>
            <a:r>
              <a:rPr lang="pt-BR" sz="2000" dirty="0" smtClean="0"/>
              <a:t>Excluir , </a:t>
            </a:r>
            <a:r>
              <a:rPr lang="pt-BR" sz="2000" dirty="0" smtClean="0"/>
              <a:t>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Ocultar e </a:t>
            </a:r>
            <a:r>
              <a:rPr lang="pt-BR" sz="2000" dirty="0" err="1" smtClean="0"/>
              <a:t>Desocultar</a:t>
            </a:r>
            <a:r>
              <a:rPr lang="pt-BR" sz="2000" dirty="0" smtClean="0"/>
              <a:t>  linha e Coluna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Estrutura de Tópico – Agrupar linha e Coluna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Inserir, Ocultar, </a:t>
            </a:r>
            <a:r>
              <a:rPr lang="pt-BR" sz="2000" dirty="0" err="1" smtClean="0"/>
              <a:t>Desocultar</a:t>
            </a:r>
            <a:r>
              <a:rPr lang="pt-BR" sz="2000" dirty="0" smtClean="0"/>
              <a:t>, Copiar</a:t>
            </a:r>
            <a:r>
              <a:rPr lang="pt-BR" sz="2000" dirty="0"/>
              <a:t>,</a:t>
            </a:r>
            <a:r>
              <a:rPr lang="pt-BR" sz="2000" dirty="0" smtClean="0"/>
              <a:t>  Deletar múltiplas planilhas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ulas tridimensionais</a:t>
            </a:r>
            <a:endParaRPr lang="pt-BR" sz="2000" dirty="0" smtClean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 ações Tridimensionais</a:t>
            </a: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6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ORDENAR LISTAS NO EXCEL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 smtClean="0"/>
              <a:t>COMEÇAR O DIA RETOMANDO AULA,</a:t>
            </a:r>
          </a:p>
          <a:p>
            <a:pPr>
              <a:buFontTx/>
              <a:buChar char="-"/>
            </a:pPr>
            <a:r>
              <a:rPr lang="pt-BR" sz="1800" dirty="0" smtClean="0"/>
              <a:t>EXPLICAR FLUXO DE CAIXA E EXERCICIO DE ORDENAÇÂO DO FLUXO DE CAIXA</a:t>
            </a:r>
          </a:p>
          <a:p>
            <a:pPr>
              <a:buFontTx/>
              <a:buChar char="-"/>
            </a:pPr>
            <a:r>
              <a:rPr lang="pt-BR" sz="1800" dirty="0" smtClean="0"/>
              <a:t>PLICAR BUDGET</a:t>
            </a:r>
          </a:p>
          <a:p>
            <a:pPr>
              <a:buFontTx/>
              <a:buChar char="-"/>
            </a:pPr>
            <a:r>
              <a:rPr lang="pt-BR" sz="1800" dirty="0"/>
              <a:t>USAR EXERCICIO DO BUDGET PARA ORDENAR</a:t>
            </a:r>
          </a:p>
          <a:p>
            <a:pPr>
              <a:buFontTx/>
              <a:buChar char="-"/>
            </a:pPr>
            <a:r>
              <a:rPr lang="pt-BR" sz="1800" dirty="0" smtClean="0"/>
              <a:t>APLICAR BANCO DE DADOS – USAR TXT DE FORNCEDORES</a:t>
            </a:r>
          </a:p>
          <a:p>
            <a:pPr>
              <a:buFontTx/>
              <a:buChar char="-"/>
            </a:pPr>
            <a:r>
              <a:rPr lang="pt-BR" sz="1800" dirty="0" smtClean="0"/>
              <a:t>EXEMPLIFICAR EXERCICIO DE ORDENAÇÂO  COM PACOTE DE GRUPO DE CONTAS E DEPOIS LANÇAMENTOS</a:t>
            </a:r>
          </a:p>
          <a:p>
            <a:pPr>
              <a:buFontTx/>
              <a:buChar char="-"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istas -  Classificar e usar FILTRO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Excel Permite Classificar as listas automaticamente de acordo com regras pré-estabelecidas (ordem numérica ou ordem alfabética) ou ainda baseada nas lista nativas e personalizadas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azer ordenação: Guia Dados, grupo classificar e Filtrar, comando classificar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iar lista personalizada: guia Arquivo , Opções, Avançado, Geral, Editar lista Personalizada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</a:t>
            </a:r>
            <a:r>
              <a:rPr lang="pt-BR" sz="1800" dirty="0" smtClean="0"/>
              <a:t>coluna</a:t>
            </a:r>
            <a:endParaRPr lang="pt-BR" sz="1800" dirty="0" smtClean="0"/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9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ar material PROCV PROCH</a:t>
            </a:r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LOGICA SE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ar material PROCV PROCH</a:t>
            </a:r>
          </a:p>
        </p:txBody>
      </p:sp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ÃO SOMASE, CONTSE, MEDIAS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Ao atender a um critério especifico, faz a soma de acordo com a parâmetro informado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Usado em conjunto com ELIMINAR DUPLICATAS, pode ser uma alternativa para relatórios consolidados</a:t>
            </a:r>
          </a:p>
        </p:txBody>
      </p:sp>
    </p:spTree>
    <p:extLst>
      <p:ext uri="{BB962C8B-B14F-4D97-AF65-F5344CB8AC3E}">
        <p14:creationId xmlns:p14="http://schemas.microsoft.com/office/powerpoint/2010/main" val="3520348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E ARQUIVO DE VENDAS PARA FAZER MEDIA, SOMA, CONTAGEM POR UF x CATEGORIA DE PRODUTO.</a:t>
            </a:r>
          </a:p>
        </p:txBody>
      </p:sp>
    </p:spTree>
    <p:extLst>
      <p:ext uri="{BB962C8B-B14F-4D97-AF65-F5344CB8AC3E}">
        <p14:creationId xmlns:p14="http://schemas.microsoft.com/office/powerpoint/2010/main" val="829138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referência 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referência 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Excel Permite Classificar as listas automaticamente de acordo com regras pré-estabelecidas (ordem numérica ou ordem alfabética) ou ainda baseada nas lista nativas e personalizadas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azer ordenação: Guia Dados, grupo classificar e Filtrar, comando classificar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iar lista personalizada: guia Arquivo , Opções, Avançado, Geral, Editar lista Personalizada</a:t>
            </a:r>
          </a:p>
        </p:txBody>
      </p:sp>
    </p:spTree>
    <p:extLst>
      <p:ext uri="{BB962C8B-B14F-4D97-AF65-F5344CB8AC3E}">
        <p14:creationId xmlns:p14="http://schemas.microsoft.com/office/powerpoint/2010/main" val="2873385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nsciência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mpetência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º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º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º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19</TotalTime>
  <Words>4022</Words>
  <Application>Microsoft Office PowerPoint</Application>
  <PresentationFormat>Widescreen</PresentationFormat>
  <Paragraphs>519</Paragraphs>
  <Slides>59</Slides>
  <Notes>0</Notes>
  <HiddenSlides>7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9</vt:i4>
      </vt:variant>
    </vt:vector>
  </HeadingPairs>
  <TitlesOfParts>
    <vt:vector size="65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281</cp:revision>
  <dcterms:created xsi:type="dcterms:W3CDTF">2018-08-19T15:50:37Z</dcterms:created>
  <dcterms:modified xsi:type="dcterms:W3CDTF">2018-11-09T03:32:50Z</dcterms:modified>
</cp:coreProperties>
</file>